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94" r:id="rId2"/>
    <p:sldId id="824" r:id="rId3"/>
    <p:sldId id="825" r:id="rId4"/>
    <p:sldId id="821" r:id="rId5"/>
    <p:sldId id="826" r:id="rId6"/>
    <p:sldId id="302" r:id="rId7"/>
    <p:sldId id="304" r:id="rId8"/>
    <p:sldId id="827" r:id="rId9"/>
    <p:sldId id="828" r:id="rId10"/>
    <p:sldId id="275" r:id="rId11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60" d="100"/>
          <a:sy n="60" d="100"/>
        </p:scale>
        <p:origin x="-2064" y="-78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 smtClean="0">
              <a:solidFill>
                <a:schemeClr val="bg1"/>
              </a:solidFill>
            </a:rPr>
            <a:t>Региональный </a:t>
          </a:r>
          <a:endParaRPr lang="ru-RU" sz="1200" b="1" dirty="0">
            <a:solidFill>
              <a:schemeClr val="bg1"/>
            </a:solidFill>
          </a:endParaRP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 smtClean="0"/>
            <a:t>Муниципальный </a:t>
          </a:r>
          <a:r>
            <a:rPr lang="ru-RU" sz="1200" b="1" dirty="0"/>
            <a:t>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bg1"/>
              </a:solidFill>
            </a:rPr>
            <a:t>Региональный </a:t>
          </a:r>
          <a:endParaRPr lang="ru-RU" sz="1200" b="1" kern="1200" dirty="0">
            <a:solidFill>
              <a:schemeClr val="bg1"/>
            </a:solidFill>
          </a:endParaRP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Муниципальный </a:t>
          </a:r>
          <a:r>
            <a:rPr lang="ru-RU" sz="1200" b="1" kern="1200" dirty="0"/>
            <a:t>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1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1.03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1.03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1.03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1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1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10464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общеобразовательное учреждение основная общеобразовательная школа № 9 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(для  </a:t>
            </a:r>
            <a:r>
              <a:rPr lang="en-US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ck off )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МБОУ ООШ №9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робейникова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Е.С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20097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lnSpc>
                <a:spcPct val="115000"/>
              </a:lnSpc>
              <a:spcAft>
                <a:spcPts val="0"/>
              </a:spcAft>
              <a:tabLst>
                <a:tab pos="357505" algn="l"/>
              </a:tabLst>
            </a:pP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ма проекта </a:t>
            </a:r>
            <a:r>
              <a:rPr lang="ru-RU" sz="2800" b="1" dirty="0" smtClean="0">
                <a:solidFill>
                  <a:schemeClr val="tx2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800" b="1" dirty="0">
                <a:solidFill>
                  <a:schemeClr val="tx2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мониторинга посещаемости уроков обучающимися  МБОУ ООШ № 9»</a:t>
            </a:r>
            <a:endParaRPr lang="ru-RU" sz="2800" dirty="0">
              <a:solidFill>
                <a:schemeClr val="tx2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баркуль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78250078"/>
              </p:ext>
            </p:extLst>
          </p:nvPr>
        </p:nvGraphicFramePr>
        <p:xfrm>
          <a:off x="123844" y="968222"/>
          <a:ext cx="8912652" cy="61571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7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9834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Ожидаемый результат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8502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alt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сутствие четкого, зафиксированного в нормативных документах, алгоритма контроля посещаемости занятий.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Создание локального акта, регламентирующего процесс контроля посещаемости занятий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иректор, Елена Сергеевна </a:t>
                      </a:r>
                      <a:r>
                        <a:rPr lang="ru-RU" sz="12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робейникова</a:t>
                      </a:r>
                      <a:endParaRPr lang="ru-RU" sz="11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02.2024 -23.02.2024г</a:t>
                      </a:r>
                      <a:endParaRPr lang="ru-RU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здан приказ, в котором регламентируется процесс контроля посещаемости </a:t>
                      </a:r>
                      <a:r>
                        <a:rPr lang="ru-RU" sz="12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нятий.Введение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замечаний за несвоевременный контроль отсутствующих к учителям-предметникам, классным руководителям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Несвоевременная связь с законными представителями обучающихся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роведение родительского </a:t>
                      </a:r>
                      <a:r>
                        <a:rPr lang="ru-RU" sz="1200" dirty="0" err="1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обрания,индивидуальных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бесед с законными представителями.</a:t>
                      </a:r>
                      <a:endParaRPr lang="ru-RU" sz="12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Заместитель директора по УВР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Евсеева Л.Ю., социальный педагог Первушина Е.Ю.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26.02.2024 -29.02.2024г</a:t>
                      </a:r>
                      <a:endParaRPr kumimoji="0" lang="ru-RU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just"/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Своевременная связь с законными представителями обучающихся. Обмен необходимой информацией в единой платформе «</a:t>
                      </a:r>
                      <a:r>
                        <a:rPr lang="ru-RU" sz="1200" dirty="0" err="1" smtClean="0">
                          <a:effectLst/>
                          <a:latin typeface="Times New Roman"/>
                          <a:ea typeface="Calibri"/>
                        </a:rPr>
                        <a:t>Сферум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»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 Опоздания со стороны обучающихся.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  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Проведение</a:t>
                      </a:r>
                      <a:r>
                        <a:rPr lang="ru-RU" sz="1200" baseline="0" dirty="0" smtClean="0">
                          <a:effectLst/>
                          <a:latin typeface="Times New Roman"/>
                          <a:ea typeface="Calibri"/>
                        </a:rPr>
                        <a:t> 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индивидуально – профилактических бесед с законными представителями и обучающимися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Заместитель директора по УВР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Евсеева Л.Ю., социальный педагог Первушина Е.Ю.,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</a:t>
                      </a: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руководители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26.02.2024 -29.02.2024г</a:t>
                      </a:r>
                      <a:endParaRPr kumimoji="0" lang="ru-RU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Отсутствие обучающихся, опаздывающих на первый урок.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т единой формы бланка учета посещаемости обучающихся  школы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Разработка единой формы бланка учета посещаемости обучающихся с указанием причины отсутствия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Заместитель директора по </a:t>
                      </a:r>
                      <a:r>
                        <a:rPr lang="ru-RU" sz="1200" dirty="0" err="1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учебно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– воспитательной работе</a:t>
                      </a:r>
                      <a:endParaRPr lang="ru-RU" sz="11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Лилия Юрьевна Евсеева, социальный педагог Елена Юрьевна Первушина</a:t>
                      </a:r>
                      <a:endParaRPr lang="ru-RU" sz="11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6.02.2024 -29.02.2024г</a:t>
                      </a:r>
                      <a:endParaRPr lang="ru-RU" sz="105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Разработана и утверждена приказом единая форма бланка учета посещаемости обучающихся с указанием причины отсутствия, размещение ее электронного варианта в учительской в общедоступном компьютере</a:t>
                      </a:r>
                      <a:endParaRPr lang="ru-RU" sz="12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План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реализации проекта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Челябинская область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773" y="0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28662" y="790764"/>
            <a:ext cx="7929618" cy="556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8871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4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rcRect b="12241"/>
          <a:stretch>
            <a:fillRect/>
          </a:stretch>
        </p:blipFill>
        <p:spPr bwMode="auto">
          <a:xfrm>
            <a:off x="2714612" y="1428736"/>
            <a:ext cx="3905845" cy="4788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4146163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683568" y="1541604"/>
            <a:ext cx="8064896" cy="4839723"/>
          </a:xfrm>
        </p:spPr>
        <p:txBody>
          <a:bodyPr>
            <a:normAutofit/>
          </a:bodyPr>
          <a:lstStyle/>
          <a:p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Первушина Елена Юрьевна, социальный педагог МБОУ ООШ № 9 </a:t>
            </a:r>
          </a:p>
          <a:p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 Евсеева Лилия Юрьевна – заместитель директора по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ебно- воспитательной работе, </a:t>
            </a:r>
          </a:p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мина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алина Николаевна – заместитель директора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административно –хозяйственной части ,</a:t>
            </a:r>
          </a:p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Загребова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рина Александровна – психолог.</a:t>
            </a:r>
          </a:p>
          <a:p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520897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00166" y="-24"/>
            <a:ext cx="6186502" cy="582594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тенд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5</a:t>
            </a:fld>
            <a:endParaRPr lang="ru-RU"/>
          </a:p>
        </p:txBody>
      </p:sp>
      <p:pic>
        <p:nvPicPr>
          <p:cNvPr id="25602" name="Picture 2" descr="C:\Users\Admin\Downloads\IMG_0929.jpg"/>
          <p:cNvPicPr>
            <a:picLocks noChangeAspect="1" noChangeArrowheads="1"/>
          </p:cNvPicPr>
          <p:nvPr/>
        </p:nvPicPr>
        <p:blipFill>
          <a:blip r:embed="rId2" cstate="print"/>
          <a:srcRect t="2458" r="2000" b="10700"/>
          <a:stretch>
            <a:fillRect/>
          </a:stretch>
        </p:blipFill>
        <p:spPr bwMode="auto">
          <a:xfrm>
            <a:off x="546218" y="642918"/>
            <a:ext cx="8169186" cy="54292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90699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89166" y="114300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197767" y="6446108"/>
            <a:ext cx="466157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60 -120 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. 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167722"/>
              </p:ext>
            </p:extLst>
          </p:nvPr>
        </p:nvGraphicFramePr>
        <p:xfrm>
          <a:off x="483844" y="1603534"/>
          <a:ext cx="1751856" cy="315713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0133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иректор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колы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8241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четкого, зафиксированного в нормативных документах, алгоритма контроля посещаемости занятий</a:t>
                      </a:r>
                      <a:endParaRPr kumimoji="0" lang="ru-RU" alt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7339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- 50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1312653"/>
              </p:ext>
            </p:extLst>
          </p:nvPr>
        </p:nvGraphicFramePr>
        <p:xfrm>
          <a:off x="4034129" y="4374976"/>
          <a:ext cx="4818510" cy="207642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8185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72008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четкого, зафиксированного в нормативных документах, алгоритма контроля посещаемости занятий</a:t>
                      </a:r>
                      <a:endParaRPr kumimoji="0" lang="ru-RU" alt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Несвоевременная связь с законными представителями обучающихся</a:t>
                      </a:r>
                      <a:endParaRPr kumimoji="0" lang="ru-RU" alt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.</a:t>
                      </a:r>
                      <a: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Опоздания со стороны обучающихся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Нет единой формы бланка учета посещаемости обучающихся школы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75" y="1501631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3597324" y="4240833"/>
            <a:ext cx="321469" cy="2068487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4859339" y="3933056"/>
            <a:ext cx="403603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4270419" y="1136138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2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4" name="Пятно 1 60"/>
          <p:cNvSpPr/>
          <p:nvPr/>
        </p:nvSpPr>
        <p:spPr>
          <a:xfrm>
            <a:off x="8249263" y="1111104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6527256" y="110469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3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97767" y="465221"/>
            <a:ext cx="8893621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 Карта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текущего 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 проекта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«Оптимизация процесса мониторинга посещаемости уроков обучающимися  МБОУ ООШ № 9»</a:t>
            </a:r>
          </a:p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082812"/>
              </p:ext>
            </p:extLst>
          </p:nvPr>
        </p:nvGraphicFramePr>
        <p:xfrm>
          <a:off x="2740598" y="1603534"/>
          <a:ext cx="1751856" cy="191311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2932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уководител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Несвоевременная связь с законными представителями обучающихся</a:t>
                      </a:r>
                      <a:endParaRPr kumimoji="0" lang="ru-RU" alt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14300" marR="0" lvl="1" indent="-114300" algn="l" defTabSz="66675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Tx/>
                        <a:buSzTx/>
                        <a:buFontTx/>
                        <a:buChar char="••"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hueOff val="0"/>
                            <a:satOff val="0"/>
                            <a:lumOff val="0"/>
                            <a:alphaOff val="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40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0744681"/>
              </p:ext>
            </p:extLst>
          </p:nvPr>
        </p:nvGraphicFramePr>
        <p:xfrm>
          <a:off x="4932040" y="1603535"/>
          <a:ext cx="1709242" cy="199310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0924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047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лассные руководители</a:t>
                      </a:r>
                    </a:p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79210">
                <a:tc>
                  <a:txBody>
                    <a:bodyPr/>
                    <a:lstStyle/>
                    <a:p>
                      <a:pPr lvl="0"/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Опоздания со стороны обучающихся</a:t>
                      </a:r>
                      <a:endParaRPr lang="ru-RU" sz="1200" dirty="0"/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19535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 мин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4293885"/>
              </p:ext>
            </p:extLst>
          </p:nvPr>
        </p:nvGraphicFramePr>
        <p:xfrm>
          <a:off x="6985306" y="1643238"/>
          <a:ext cx="1751856" cy="178576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циальный педагог</a:t>
                      </a:r>
                      <a:endParaRPr kumimoji="0" lang="ru-RU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т единой формы бланка учета посещаемости обучающихся школы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68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75856" y="11222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69036" y="110469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20770" y="113441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548528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6679001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345023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7" name="Пятно 1 60"/>
          <p:cNvSpPr/>
          <p:nvPr/>
        </p:nvSpPr>
        <p:spPr>
          <a:xfrm>
            <a:off x="1945767" y="1111104"/>
            <a:ext cx="7985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49572265"/>
              </p:ext>
            </p:extLst>
          </p:nvPr>
        </p:nvGraphicFramePr>
        <p:xfrm>
          <a:off x="123844" y="1284464"/>
          <a:ext cx="8840644" cy="51782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619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40645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856365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четкого, зафиксированного в нормативных документах, алгоритма контроля посещаемости занятий</a:t>
                      </a: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10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Отсутствие локального акта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Создание локального акта, регламентирующего процесс контроля посещаемости занятий. 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02373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Несвоевременная</a:t>
                      </a: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связь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с законными представителями обучающихся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Отсутствие контактной информации 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Своевременная связь с законными представителями обучающихся. Обмен необходимой информацией в единой платформе «</a:t>
                      </a:r>
                      <a:r>
                        <a:rPr lang="ru-RU" sz="12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Сферум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». 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15479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Опоздания со стороны обучающихся. 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Отсутствие контроля со стороны законных представителей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Проведение индивидуально</a:t>
                      </a: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-профилактических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бесед с законными представителями и обучающимися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32004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 Нет единой формы бланка учета посещаемости обучающихся школы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Отсутствие локального акта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Разработка единой формы бланка учета посещаемости обучающихся с указанием причины отсутствия.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657880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57752" y="1196752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шить на региональном уровне – не выявлен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57752" y="2143112"/>
            <a:ext cx="3746698" cy="781832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ребуется решить 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ом уровне- не выявлен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571480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857750" y="3212976"/>
            <a:ext cx="4000530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роблемы, решение которых требуется решить на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уровне МБОУ ООШ № 9</a:t>
            </a:r>
          </a:p>
          <a:p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just">
              <a:defRPr/>
            </a:pPr>
            <a: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четкого, зафиксированного в нормативных документах, алгоритма контроля посещаемости занятий</a:t>
            </a:r>
            <a:endParaRPr lang="ru-RU" alt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2. Несвоевременная 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связь с законными представителями обучающихся</a:t>
            </a:r>
            <a:endParaRPr lang="ru-RU" alt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/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3. Опоздания 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со стороны обучающихся. </a:t>
            </a:r>
            <a:endParaRPr lang="ru-RU" alt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 Нет 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диной формы бланка учета посещаемости обучающихся школы</a:t>
            </a:r>
            <a:endParaRPr lang="ru-RU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ctr">
              <a:defRPr/>
            </a:pPr>
            <a:endParaRPr lang="ru-RU" altLang="ru-RU" sz="14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10923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89166" y="114300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rgbClr val="4BACC6">
                    <a:lumMod val="50000"/>
                  </a:srgbClr>
                </a:solidFill>
              </a:rPr>
              <a:pPr algn="ctr">
                <a:defRPr/>
              </a:pPr>
              <a:t>9</a:t>
            </a:fld>
            <a:endParaRPr lang="ru-RU" b="1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123845" y="6446108"/>
            <a:ext cx="473549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30 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. 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5562521"/>
              </p:ext>
            </p:extLst>
          </p:nvPr>
        </p:nvGraphicFramePr>
        <p:xfrm>
          <a:off x="483844" y="1603534"/>
          <a:ext cx="1751856" cy="238283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8530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ый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едагог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Создание локального акта, регламентирующего процесс контроля посещаемости занятий. 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7339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3783282"/>
              </p:ext>
            </p:extLst>
          </p:nvPr>
        </p:nvGraphicFramePr>
        <p:xfrm>
          <a:off x="3395590" y="4240833"/>
          <a:ext cx="5432766" cy="293378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543276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56319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Создание локального акта, регламентирующего процесс контроля посещаемости занятий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5581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.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Проведение родительского собрания ,индивидуальных бесед с законными представителями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Обмен необходимой информацией в единой платформе «</a:t>
                      </a:r>
                      <a:r>
                        <a:rPr kumimoji="0" 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Сферум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».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91923">
                <a:tc>
                  <a:txBody>
                    <a:bodyPr/>
                    <a:lstStyle/>
                    <a:p>
                      <a:pPr marL="0" marR="0" lvl="1" indent="0" algn="l" defTabSz="66675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Проведение индивидуально – профилактических бесед с законными представителями и обучающимися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>
                            <a:hueOff val="0"/>
                            <a:satOff val="0"/>
                            <a:lumOff val="0"/>
                            <a:alphaOff val="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605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 </a:t>
                      </a:r>
                      <a:r>
                        <a:rPr kumimoji="0" lang="ru-RU" alt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Разработка единой формы бланка учета посещаемости обучающихся с указанием причины отсутствия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60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60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75" y="1501631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658900" y="4240833"/>
            <a:ext cx="321469" cy="2068487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4396783" y="3798912"/>
            <a:ext cx="43468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ПРЕДЛОЖЕНИЯ ПО УЛУЧШЕНИЮ:</a:t>
            </a:r>
            <a:endParaRPr lang="ru-RU" sz="1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0" name="Пятно 1 60"/>
          <p:cNvSpPr/>
          <p:nvPr/>
        </p:nvSpPr>
        <p:spPr>
          <a:xfrm>
            <a:off x="2094485" y="1152667"/>
            <a:ext cx="646113" cy="504825"/>
          </a:xfrm>
          <a:prstGeom prst="irregularSeal1">
            <a:avLst/>
          </a:prstGeom>
          <a:solidFill>
            <a:schemeClr val="accent3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rgbClr val="00B050"/>
                </a:solidFill>
                <a:cs typeface="Arial" pitchFamily="34" charset="0"/>
              </a:rPr>
              <a:t>1</a:t>
            </a:r>
            <a:endParaRPr lang="ru-RU" sz="800" b="1" dirty="0">
              <a:solidFill>
                <a:srgbClr val="00B050"/>
              </a:solidFill>
              <a:cs typeface="Arial" pitchFamily="34" charset="0"/>
            </a:endParaRPr>
          </a:p>
        </p:txBody>
      </p:sp>
      <p:sp>
        <p:nvSpPr>
          <p:cNvPr id="84" name="Пятно 1 60"/>
          <p:cNvSpPr/>
          <p:nvPr/>
        </p:nvSpPr>
        <p:spPr>
          <a:xfrm>
            <a:off x="8249263" y="1111104"/>
            <a:ext cx="646113" cy="504825"/>
          </a:xfrm>
          <a:prstGeom prst="irregularSeal1">
            <a:avLst/>
          </a:prstGeom>
          <a:solidFill>
            <a:schemeClr val="accent3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4396783" y="1104697"/>
            <a:ext cx="646112" cy="504825"/>
          </a:xfrm>
          <a:prstGeom prst="irregularSeal1">
            <a:avLst/>
          </a:prstGeom>
          <a:solidFill>
            <a:schemeClr val="accent3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97767" y="465221"/>
            <a:ext cx="8893621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арта целевого состояния процесса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екта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Оптимизация процесса мониторинга посещаемости уроков обучающимися  МБОУ ООШ № 9»</a:t>
            </a:r>
          </a:p>
          <a:p>
            <a:pPr algn="ctr"/>
            <a:endParaRPr lang="ru-RU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5961899"/>
              </p:ext>
            </p:extLst>
          </p:nvPr>
        </p:nvGraphicFramePr>
        <p:xfrm>
          <a:off x="2687645" y="1587630"/>
          <a:ext cx="1751856" cy="230961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уководител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3689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-Проведение родительского </a:t>
                      </a:r>
                      <a:r>
                        <a:rPr kumimoji="0" 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собрания,индивидуальных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 бесед с законными представителями.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Обмен необходимой информацией в единой платформе «</a:t>
                      </a:r>
                      <a:r>
                        <a:rPr kumimoji="0" 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Сферум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».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6147480"/>
              </p:ext>
            </p:extLst>
          </p:nvPr>
        </p:nvGraphicFramePr>
        <p:xfrm>
          <a:off x="4927145" y="1601438"/>
          <a:ext cx="1751856" cy="211821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6503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 руководител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96622">
                <a:tc>
                  <a:txBody>
                    <a:bodyPr/>
                    <a:lstStyle/>
                    <a:p>
                      <a:pPr marL="0" marR="0" lvl="1" indent="0" algn="l" defTabSz="66675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Проведение индивидуально – профилактических бесед с законными представителями и обучающимися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>
                            <a:hueOff val="0"/>
                            <a:satOff val="0"/>
                            <a:lumOff val="0"/>
                            <a:alphaOff val="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lvl="0"/>
                      <a:endParaRPr lang="ru-RU" sz="1200" dirty="0"/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9835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8178162"/>
              </p:ext>
            </p:extLst>
          </p:nvPr>
        </p:nvGraphicFramePr>
        <p:xfrm>
          <a:off x="6985306" y="1577081"/>
          <a:ext cx="1751856" cy="22119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ый педагог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25400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Разработка единой формы бланка учета посещаемости обучающихся с указанием причины отсутствия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25400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008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75856" y="11222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69036" y="110469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20770" y="113441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548528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20" name="Стрелка вправо 119"/>
          <p:cNvSpPr/>
          <p:nvPr/>
        </p:nvSpPr>
        <p:spPr>
          <a:xfrm>
            <a:off x="6679001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21" name="Стрелка вправо 120"/>
          <p:cNvSpPr/>
          <p:nvPr/>
        </p:nvSpPr>
        <p:spPr>
          <a:xfrm>
            <a:off x="2345023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" name="Пятно 1 60"/>
          <p:cNvSpPr/>
          <p:nvPr/>
        </p:nvSpPr>
        <p:spPr>
          <a:xfrm>
            <a:off x="6527256" y="1153288"/>
            <a:ext cx="646112" cy="504825"/>
          </a:xfrm>
          <a:prstGeom prst="irregularSeal1">
            <a:avLst/>
          </a:prstGeom>
          <a:solidFill>
            <a:schemeClr val="accent3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80069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9</TotalTime>
  <Words>860</Words>
  <Application>Microsoft Office PowerPoint</Application>
  <PresentationFormat>Экран (4:3)</PresentationFormat>
  <Paragraphs>171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Тема Office</vt:lpstr>
      <vt:lpstr>think-cell Slide</vt:lpstr>
      <vt:lpstr>Челябинская область</vt:lpstr>
      <vt:lpstr>Презентация PowerPoint</vt:lpstr>
      <vt:lpstr>Челябинская область</vt:lpstr>
      <vt:lpstr>Челябинская область</vt:lpstr>
      <vt:lpstr>стенд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Пользователь</cp:lastModifiedBy>
  <cp:revision>160</cp:revision>
  <cp:lastPrinted>2019-04-25T09:14:46Z</cp:lastPrinted>
  <dcterms:created xsi:type="dcterms:W3CDTF">2018-08-20T14:01:12Z</dcterms:created>
  <dcterms:modified xsi:type="dcterms:W3CDTF">2024-03-11T18:34:32Z</dcterms:modified>
</cp:coreProperties>
</file>